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52059-66CD-79E5-EB17-E3D29C12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F0B2295-E9DE-DB5D-42A2-F98136122D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B2295-E9DE-DB5D-42A2-F98136122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7376C-6928-A015-0AC7-B2B6327D9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49766AA-70F1-FCF4-EB88-8940ADD71F7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877D28E6-6124-FB79-EA1B-D6D070DAF47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4FAC7181-D34B-558E-1F6F-F71E9B2B6539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75559A99-4400-DA7B-ED83-5D0A0BF72B79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EA4DD358-43DE-9FEE-CAD6-4534E302A811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0CC2FC16-E02C-969C-CFA9-B62AB2B94AFC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C48569AF-0AE0-D0BC-D618-09CF53AC8502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349FA384-7F25-47E0-5FDE-E2D8B92E93E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CEE6C079-0F9A-96EB-713D-340412BD4BB2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E0000AB1-AD57-97E1-10CF-E3BB98587038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00367605-7ADA-6BCA-AAB2-0A7DA5551210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5FA2141D-C0F3-452F-915F-17651F5B91D4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43FFAAE5-9531-F2EC-15F1-CB1228420B80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CE9B48-8D5F-5B7F-A127-349A46A91FED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0CC60021-E055-C97D-724E-85D0C54F8973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733935B-D150-A4AE-F62C-DAE90E112557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0F526AFB-C6E8-F537-E6E0-0B374179032A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878AEC8A-FE78-5E0A-9D33-9C9F2891CA62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31A17FA2-E492-20A2-1D99-57C8958E4040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01114EC5-4340-15CE-20CC-89A83BBC81E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80D0A7BD-67C6-206F-42D7-467105E28201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1F6AC5D9-E33C-3CE5-D633-3556702A1954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5DC87524-1A44-65EE-39A0-580DE5A9CC4C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6AA1C12B-C692-D265-6530-8DF7DEDF4188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75C10B76-A6D4-BB01-5BA8-ACD1396FC797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5B28A65D-E7D5-A941-2D19-7117256F3979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76F855E-03B1-72F6-EF86-23B420FC4B42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9E6B87B0-3874-8085-A0AD-0F032CF25321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F40CEFCC-4FD9-35BC-0EBE-9CE149369A64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87E3BDB3-AF78-61BC-52B0-0A0C304662C3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9D0E20C-D462-DB1E-FB7D-901ACFC24AE1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2EC6CB52-80C4-EFB2-9420-C2FA7DB4278E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C37D9A57-838B-4CD0-6A98-69508B77FF56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87D43A73-068D-5390-3038-A892D5CBB9A0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281551A4-AA3A-3495-2FF1-1FFF8C00E849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FF760BE0-5157-6B2D-5835-EDD8BA97E40D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DD03DB0B-63B5-F0FE-47F2-D1385D21B34A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F4B6F788-FA05-7B5D-6689-C42420EB5566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5E1A3793-9657-A7CD-5992-711B6A84F4DB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E706ED80-B586-454A-158B-AEDA818195C2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6FA76D51-FC0E-28E3-DA76-3C86C83723DA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9E248384-AE58-4855-3D8F-EDC12E113DE7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3D2F66FA-F1BE-49C6-3000-2442489F3985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999F0CD3-1A7F-F5AF-9492-9C7F282E7628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4C5A97E-CD31-098B-72ED-5127DE02DA37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513CC2C9-BF98-74C2-4EE6-A2E5DBC81F36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/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B7683109-5D78-FA88-8E4A-30183CA2F891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25CECE23-0AFD-D281-3D03-44EF752AFDEC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5DE54ED5-BD70-5CB2-A1B7-3EF6D89E3B45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6770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3</TotalTime>
  <Words>65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3</cp:revision>
  <dcterms:created xsi:type="dcterms:W3CDTF">2021-03-31T02:49:57Z</dcterms:created>
  <dcterms:modified xsi:type="dcterms:W3CDTF">2025-10-15T08:37:08Z</dcterms:modified>
  <cp:category/>
</cp:coreProperties>
</file>